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9"/>
  </p:notesMasterIdLst>
  <p:handoutMasterIdLst>
    <p:handoutMasterId r:id="rId10"/>
  </p:handoutMasterIdLst>
  <p:sldIdLst>
    <p:sldId id="271" r:id="rId2"/>
    <p:sldId id="272" r:id="rId3"/>
    <p:sldId id="273" r:id="rId4"/>
    <p:sldId id="280" r:id="rId5"/>
    <p:sldId id="315" r:id="rId6"/>
    <p:sldId id="317" r:id="rId7"/>
    <p:sldId id="318" r:id="rId8"/>
  </p:sldIdLst>
  <p:sldSz cx="12190413" cy="6859588"/>
  <p:notesSz cx="6858000" cy="9144000"/>
  <p:custDataLst>
    <p:tags r:id="rId11"/>
  </p:custDataLst>
  <p:defaultTextStyle>
    <a:defPPr>
      <a:defRPr lang="de-DE"/>
    </a:defPPr>
    <a:lvl1pPr marL="0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2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47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71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9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18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342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565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789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B04E86-246D-4782-9F4F-064A46A85945}">
          <p14:sldIdLst>
            <p14:sldId id="271"/>
            <p14:sldId id="272"/>
            <p14:sldId id="273"/>
            <p14:sldId id="280"/>
            <p14:sldId id="315"/>
            <p14:sldId id="317"/>
            <p14:sldId id="318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020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7291">
          <p15:clr>
            <a:srgbClr val="A4A3A4"/>
          </p15:clr>
        </p15:guide>
        <p15:guide id="5" pos="3726" userDrawn="1">
          <p15:clr>
            <a:srgbClr val="A4A3A4"/>
          </p15:clr>
        </p15:guide>
        <p15:guide id="6" pos="39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61">
          <p15:clr>
            <a:srgbClr val="A4A3A4"/>
          </p15:clr>
        </p15:guide>
        <p15:guide id="2" orient="horz" pos="5330">
          <p15:clr>
            <a:srgbClr val="A4A3A4"/>
          </p15:clr>
        </p15:guide>
        <p15:guide id="3" pos="234">
          <p15:clr>
            <a:srgbClr val="A4A3A4"/>
          </p15:clr>
        </p15:guide>
        <p15:guide id="4" pos="405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335F"/>
    <a:srgbClr val="061A38"/>
    <a:srgbClr val="009CDA"/>
    <a:srgbClr val="B3E900"/>
    <a:srgbClr val="34B399"/>
    <a:srgbClr val="AED8EF"/>
    <a:srgbClr val="09244C"/>
    <a:srgbClr val="D9ECF8"/>
    <a:srgbClr val="2EB0A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71" autoAdjust="0"/>
    <p:restoredTop sz="94605" autoAdjust="0"/>
  </p:normalViewPr>
  <p:slideViewPr>
    <p:cSldViewPr snapToGrid="0" snapToObjects="1" showGuides="1">
      <p:cViewPr varScale="1">
        <p:scale>
          <a:sx n="63" d="100"/>
          <a:sy n="63" d="100"/>
        </p:scale>
        <p:origin x="844" y="52"/>
      </p:cViewPr>
      <p:guideLst>
        <p:guide orient="horz" pos="4020"/>
        <p:guide pos="3840"/>
        <p:guide pos="7291"/>
        <p:guide pos="3726"/>
        <p:guide pos="39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>
        <p:scale>
          <a:sx n="100" d="100"/>
          <a:sy n="100" d="100"/>
        </p:scale>
        <p:origin x="582" y="-426"/>
      </p:cViewPr>
      <p:guideLst>
        <p:guide orient="horz" pos="2761"/>
        <p:guide orient="horz" pos="5330"/>
        <p:guide pos="234"/>
        <p:guide pos="405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72CCD9-6F01-4011-B571-3957A6F7E709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23.04.2019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CC8460-34F5-425F-A0B5-7C13CBA5C2E3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265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19A70C-7D1D-4F95-AA0A-6D0338EE8089}" type="datetimeFigureOut">
              <a:rPr lang="de-DE" smtClean="0"/>
              <a:pPr/>
              <a:t>23.04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252413" y="685800"/>
            <a:ext cx="6092826" cy="3429000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69711" y="4343400"/>
            <a:ext cx="6064956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72ADED-F3CA-41CF-9877-309ADD1D734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0116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801654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57806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315612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73418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2324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394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802" y="1122623"/>
            <a:ext cx="9142810" cy="2388153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802" y="3602872"/>
            <a:ext cx="9142810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49DFC4-1118-47B3-B607-F8F10BE374A4}" type="datetime1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026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BDDE4-5B29-46A6-8AF0-D6B98520D2F8}" type="datetime1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02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3764" y="365209"/>
            <a:ext cx="2628558" cy="581318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091" y="365209"/>
            <a:ext cx="7733293" cy="581318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FEEFC-7C57-49C4-A7B9-6FD40B53D893}" type="datetime1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8637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752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792686"/>
            <a:ext cx="12190413" cy="6690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11463564" y="6386780"/>
            <a:ext cx="391886" cy="472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498598"/>
          </a:xfrm>
        </p:spPr>
        <p:txBody>
          <a:bodyPr lIns="0" tIns="0" rIns="0" bIns="0" anchor="t" anchorCtr="0">
            <a:spAutoFit/>
          </a:bodyPr>
          <a:lstStyle>
            <a:lvl1pPr>
              <a:defRPr sz="36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1616487"/>
            <a:ext cx="11520487" cy="4561907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453683"/>
            <a:ext cx="2742843" cy="365210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75" y="6453683"/>
            <a:ext cx="4114264" cy="365210"/>
          </a:xfr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3564" y="6453683"/>
            <a:ext cx="391886" cy="365210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4963" y="319490"/>
            <a:ext cx="793479" cy="853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128442" y="319490"/>
            <a:ext cx="215990" cy="85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560423" y="319490"/>
            <a:ext cx="215990" cy="853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1344432" y="319490"/>
            <a:ext cx="215990" cy="85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3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154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309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463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617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31702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8" userDrawn="1">
          <p15:clr>
            <a:srgbClr val="FBAE40"/>
          </p15:clr>
        </p15:guide>
        <p15:guide id="4" orient="horz" pos="91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742" y="1710134"/>
            <a:ext cx="10514231" cy="2853398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742" y="4590526"/>
            <a:ext cx="10514231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84930-C6BA-4076-8121-BB991979AFF3}" type="datetime1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778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091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1396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679DC-1CB2-4046-A797-EAD7F6282612}" type="datetime1">
              <a:rPr lang="en-US" smtClean="0"/>
              <a:t>4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354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365210"/>
            <a:ext cx="10514231" cy="132587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679" y="1681552"/>
            <a:ext cx="5157116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679" y="2505655"/>
            <a:ext cx="5157116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1397" y="1681552"/>
            <a:ext cx="5182513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1397" y="2505655"/>
            <a:ext cx="5182513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F02CD7-7FBB-4A2A-8368-9DED15ED7385}" type="datetime1">
              <a:rPr lang="en-US" smtClean="0"/>
              <a:t>4/2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588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48A61-F122-4A38-8B2B-5605881FB769}" type="datetime1">
              <a:rPr lang="en-US" smtClean="0"/>
              <a:t>4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06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AD3F-A3B5-4A24-A448-7EAB2C16914A}" type="datetime1">
              <a:rPr lang="en-US" smtClean="0"/>
              <a:t>4/2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70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644894-21A8-4425-9305-E6D5793453B0}" type="datetime1">
              <a:rPr lang="en-US" smtClean="0"/>
              <a:t>4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603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2896BE-36AB-4DB9-9468-435E24CA2B4A}" type="datetime1">
              <a:rPr lang="en-US" smtClean="0"/>
              <a:t>4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879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9546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6048"/>
            <a:ext cx="10514231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182B25-0756-4DFE-9698-0F9202B8DC3F}" type="datetime1">
              <a:rPr lang="en-US" smtClean="0"/>
              <a:t>4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75" y="6357822"/>
            <a:ext cx="411426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9479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6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64"/>
          <a:stretch/>
        </p:blipFill>
        <p:spPr>
          <a:xfrm>
            <a:off x="-1" y="0"/>
            <a:ext cx="12189935" cy="685958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31480" y="0"/>
            <a:ext cx="12221894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21">
            <a:extLst>
              <a:ext uri="{FF2B5EF4-FFF2-40B4-BE49-F238E27FC236}">
                <a16:creationId xmlns:a16="http://schemas.microsoft.com/office/drawing/2014/main" id="{ED8F1101-865C-4355-A612-E31ABCB72104}"/>
              </a:ext>
            </a:extLst>
          </p:cNvPr>
          <p:cNvSpPr/>
          <p:nvPr/>
        </p:nvSpPr>
        <p:spPr>
          <a:xfrm>
            <a:off x="3663190" y="0"/>
            <a:ext cx="6712542" cy="6858000"/>
          </a:xfrm>
          <a:custGeom>
            <a:avLst/>
            <a:gdLst>
              <a:gd name="connsiteX0" fmla="*/ 0 w 6712542"/>
              <a:gd name="connsiteY0" fmla="*/ 0 h 6858000"/>
              <a:gd name="connsiteX1" fmla="*/ 621213 w 6712542"/>
              <a:gd name="connsiteY1" fmla="*/ 0 h 6858000"/>
              <a:gd name="connsiteX2" fmla="*/ 6712542 w 6712542"/>
              <a:gd name="connsiteY2" fmla="*/ 6858000 h 6858000"/>
              <a:gd name="connsiteX3" fmla="*/ 6091329 w 6712542"/>
              <a:gd name="connsiteY3" fmla="*/ 6858000 h 6858000"/>
              <a:gd name="connsiteX4" fmla="*/ 0 w 671254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2542" h="6858000">
                <a:moveTo>
                  <a:pt x="0" y="0"/>
                </a:moveTo>
                <a:lnTo>
                  <a:pt x="621213" y="0"/>
                </a:lnTo>
                <a:lnTo>
                  <a:pt x="6712542" y="6858000"/>
                </a:lnTo>
                <a:lnTo>
                  <a:pt x="6091329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ED8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/>
          <p:cNvSpPr/>
          <p:nvPr/>
        </p:nvSpPr>
        <p:spPr>
          <a:xfrm>
            <a:off x="-31480" y="-3984465"/>
            <a:ext cx="9425423" cy="10844053"/>
          </a:xfrm>
          <a:prstGeom prst="rtTriangle">
            <a:avLst/>
          </a:prstGeom>
          <a:gradFill flip="none" rotWithShape="1"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793601" y="3637548"/>
            <a:ext cx="530239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Hi SG!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93601" y="4570016"/>
            <a:ext cx="530239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N1804109f Moonjeong Song</a:t>
            </a:r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793601" y="4442336"/>
            <a:ext cx="4553099" cy="0"/>
          </a:xfrm>
          <a:prstGeom prst="line">
            <a:avLst/>
          </a:prstGeom>
          <a:ln>
            <a:solidFill>
              <a:schemeClr val="accent2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-2572856" y="6266382"/>
            <a:ext cx="2255520" cy="1828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1</a:t>
            </a:fld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 flipH="1">
            <a:off x="-2432422" y="174192"/>
            <a:ext cx="2255520" cy="182880"/>
          </a:xfrm>
          <a:prstGeom prst="roundRect">
            <a:avLst/>
          </a:prstGeom>
          <a:solidFill>
            <a:srgbClr val="009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 flipH="1">
            <a:off x="-1304662" y="448512"/>
            <a:ext cx="1273182" cy="182880"/>
          </a:xfrm>
          <a:prstGeom prst="roundRect">
            <a:avLst/>
          </a:prstGeom>
          <a:solidFill>
            <a:srgbClr val="009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>
            <a:off x="-846690" y="5815882"/>
            <a:ext cx="681754" cy="1828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590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8.70132E-7 9.13717E-7 L 1.14641 9.13717E-7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7314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2.8162E-6 -5.80615E-7 L 1.27484 -5.80615E-7 " pathEditMode="relative" rAng="0" ptsTypes="AA">
                                      <p:cBhvr>
                                        <p:cTn id="8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736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fill="remove" grpId="0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24345E-6 -2.64168E-6 L 1.32851 -2.64168E-6 " pathEditMode="relative" ptsTypes="AA">
                                      <p:cBhvr>
                                        <p:cTn id="10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fill="remove" grpId="0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24345E-6 -2.64168E-6 L 1.32851 -2.64168E-6 " pathEditMode="relative" ptsTypes="AA">
                                      <p:cBhvr>
                                        <p:cTn id="12" dur="3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4" grpId="0" animBg="1"/>
      <p:bldP spid="1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tents</a:t>
            </a:r>
          </a:p>
        </p:txBody>
      </p:sp>
      <p:sp>
        <p:nvSpPr>
          <p:cNvPr id="9" name="Oval 8"/>
          <p:cNvSpPr/>
          <p:nvPr/>
        </p:nvSpPr>
        <p:spPr>
          <a:xfrm>
            <a:off x="1527544" y="1521529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99572" y="1605359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Proposal</a:t>
            </a:r>
          </a:p>
        </p:txBody>
      </p:sp>
      <p:sp>
        <p:nvSpPr>
          <p:cNvPr id="13" name="Oval 12"/>
          <p:cNvSpPr/>
          <p:nvPr/>
        </p:nvSpPr>
        <p:spPr>
          <a:xfrm>
            <a:off x="1527544" y="2475944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2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99572" y="2559774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Research</a:t>
            </a:r>
          </a:p>
        </p:txBody>
      </p:sp>
      <p:sp>
        <p:nvSpPr>
          <p:cNvPr id="16" name="Oval 15"/>
          <p:cNvSpPr/>
          <p:nvPr/>
        </p:nvSpPr>
        <p:spPr>
          <a:xfrm>
            <a:off x="1527544" y="3430359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</a:rPr>
              <a:t>03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99572" y="3514189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Planning</a:t>
            </a:r>
          </a:p>
        </p:txBody>
      </p:sp>
      <p:sp>
        <p:nvSpPr>
          <p:cNvPr id="19" name="Oval 18"/>
          <p:cNvSpPr/>
          <p:nvPr/>
        </p:nvSpPr>
        <p:spPr>
          <a:xfrm>
            <a:off x="1527544" y="4384773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</a:rPr>
              <a:t>04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99572" y="4468603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Wirefram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1527544" y="2282622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527544" y="3237037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1527544" y="4191452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/>
          <p:cNvSpPr/>
          <p:nvPr/>
        </p:nvSpPr>
        <p:spPr>
          <a:xfrm>
            <a:off x="1519000" y="5250249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5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291028" y="5334079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Self Evaluat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</a:t>
            </a:fld>
            <a:endParaRPr lang="en-US" dirty="0"/>
          </a:p>
        </p:txBody>
      </p:sp>
      <p:cxnSp>
        <p:nvCxnSpPr>
          <p:cNvPr id="26" name="Straight Connector 33">
            <a:extLst>
              <a:ext uri="{FF2B5EF4-FFF2-40B4-BE49-F238E27FC236}">
                <a16:creationId xmlns:a16="http://schemas.microsoft.com/office/drawing/2014/main" id="{66E26392-6A66-43C0-BAFC-4D594494E864}"/>
              </a:ext>
            </a:extLst>
          </p:cNvPr>
          <p:cNvCxnSpPr/>
          <p:nvPr/>
        </p:nvCxnSpPr>
        <p:spPr>
          <a:xfrm>
            <a:off x="1568184" y="5046142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250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pos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995766" y="1453843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What is Hi SG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15123" y="1453843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1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95766" y="1776521"/>
            <a:ext cx="5045114" cy="77501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totype of Singapore tourism website 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al with basic intro, attractions and food spots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95766" y="2654857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Why tourism website?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615123" y="2654857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2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95766" y="2977535"/>
            <a:ext cx="4724400" cy="77501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ll-known structure to practice web design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ts of good references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rsonal experiences as an exchange student!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995766" y="4087169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‘Hi SG’ will represen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615123" y="4087169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3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995766" y="4409847"/>
            <a:ext cx="4724400" cy="528794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in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vigation on top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fferent layouts by pag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995766" y="5338984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altLang="ko-KR" b="1" dirty="0">
                <a:solidFill>
                  <a:schemeClr val="accent1"/>
                </a:solidFill>
              </a:rPr>
              <a:t>Target audienc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615123" y="5338984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4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995766" y="5661662"/>
            <a:ext cx="4724400" cy="282573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urists, 20s, female</a:t>
            </a:r>
          </a:p>
        </p:txBody>
      </p:sp>
    </p:spTree>
    <p:extLst>
      <p:ext uri="{BB962C8B-B14F-4D97-AF65-F5344CB8AC3E}">
        <p14:creationId xmlns:p14="http://schemas.microsoft.com/office/powerpoint/2010/main" val="3293985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836729" y="2178079"/>
            <a:ext cx="3018194" cy="3074966"/>
            <a:chOff x="1514774" y="1542248"/>
            <a:chExt cx="3018194" cy="3074966"/>
          </a:xfrm>
        </p:grpSpPr>
        <p:sp>
          <p:nvSpPr>
            <p:cNvPr id="7" name="Oval 6"/>
            <p:cNvSpPr/>
            <p:nvPr/>
          </p:nvSpPr>
          <p:spPr>
            <a:xfrm>
              <a:off x="2595339" y="1542248"/>
              <a:ext cx="884379" cy="88437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D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1</a:t>
              </a:r>
              <a:endPara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172025" y="2599880"/>
              <a:ext cx="1703692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B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14774" y="3259736"/>
              <a:ext cx="3018194" cy="282573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ingapore Tourism Board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514774" y="3715562"/>
              <a:ext cx="3018194" cy="251795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2595339" y="3086483"/>
              <a:ext cx="88437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oup 19"/>
            <p:cNvGrpSpPr/>
            <p:nvPr/>
          </p:nvGrpSpPr>
          <p:grpSpPr>
            <a:xfrm>
              <a:off x="2581682" y="4571495"/>
              <a:ext cx="884379" cy="45719"/>
              <a:chOff x="2581682" y="4571495"/>
              <a:chExt cx="884379" cy="45719"/>
            </a:xfrm>
          </p:grpSpPr>
          <p:cxnSp>
            <p:nvCxnSpPr>
              <p:cNvPr id="18" name="Straight Connector 17"/>
              <p:cNvCxnSpPr/>
              <p:nvPr/>
            </p:nvCxnSpPr>
            <p:spPr>
              <a:xfrm>
                <a:off x="2581682" y="4594354"/>
                <a:ext cx="88437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tangle 18"/>
              <p:cNvSpPr/>
              <p:nvPr/>
            </p:nvSpPr>
            <p:spPr>
              <a:xfrm>
                <a:off x="2827021" y="4571495"/>
                <a:ext cx="393700" cy="4571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3" name="그림 2">
            <a:extLst>
              <a:ext uri="{FF2B5EF4-FFF2-40B4-BE49-F238E27FC236}">
                <a16:creationId xmlns:a16="http://schemas.microsoft.com/office/drawing/2014/main" id="{4A86CACE-DACA-44ED-9F20-6E1A3AA95D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1422" y="510504"/>
            <a:ext cx="5457825" cy="1590675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65371AC5-573D-4598-9A5C-894362EFF906}"/>
              </a:ext>
            </a:extLst>
          </p:cNvPr>
          <p:cNvSpPr txBox="1"/>
          <p:nvPr/>
        </p:nvSpPr>
        <p:spPr>
          <a:xfrm>
            <a:off x="5211422" y="2326437"/>
            <a:ext cx="3018194" cy="25179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e nav to contain things for navigation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531CD80-15F9-4CBE-927B-45FA5EB97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7601" y="2977990"/>
            <a:ext cx="5067300" cy="240030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18CA7C27-C8DD-47A2-B8BC-834C4B618C1F}"/>
              </a:ext>
            </a:extLst>
          </p:cNvPr>
          <p:cNvSpPr txBox="1"/>
          <p:nvPr/>
        </p:nvSpPr>
        <p:spPr>
          <a:xfrm>
            <a:off x="4010640" y="5428451"/>
            <a:ext cx="5580399" cy="25179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ts of div but clear meaning by comments</a:t>
            </a:r>
          </a:p>
        </p:txBody>
      </p:sp>
    </p:spTree>
    <p:extLst>
      <p:ext uri="{BB962C8B-B14F-4D97-AF65-F5344CB8AC3E}">
        <p14:creationId xmlns:p14="http://schemas.microsoft.com/office/powerpoint/2010/main" val="26080579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/>
        </p:nvGrpSpPr>
        <p:grpSpPr>
          <a:xfrm>
            <a:off x="1494320" y="2178079"/>
            <a:ext cx="1703692" cy="3074966"/>
            <a:chOff x="2172025" y="1542248"/>
            <a:chExt cx="1703692" cy="3074966"/>
          </a:xfrm>
        </p:grpSpPr>
        <p:sp>
          <p:nvSpPr>
            <p:cNvPr id="30" name="Oval 29"/>
            <p:cNvSpPr/>
            <p:nvPr/>
          </p:nvSpPr>
          <p:spPr>
            <a:xfrm>
              <a:off x="2595339" y="1542248"/>
              <a:ext cx="884379" cy="88437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D" sz="2400" b="1" dirty="0">
                  <a:solidFill>
                    <a:schemeClr val="bg1"/>
                  </a:solidFill>
                </a:rPr>
                <a:t>02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172025" y="2599880"/>
              <a:ext cx="1703692" cy="590349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ravel tags</a:t>
              </a:r>
            </a:p>
            <a:p>
              <a:pPr algn="ctr"/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n Design awards</a:t>
              </a:r>
            </a:p>
          </p:txBody>
        </p:sp>
        <p:cxnSp>
          <p:nvCxnSpPr>
            <p:cNvPr id="34" name="Straight Connector 33"/>
            <p:cNvCxnSpPr/>
            <p:nvPr/>
          </p:nvCxnSpPr>
          <p:spPr>
            <a:xfrm>
              <a:off x="2595339" y="3086483"/>
              <a:ext cx="88437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34"/>
            <p:cNvGrpSpPr/>
            <p:nvPr/>
          </p:nvGrpSpPr>
          <p:grpSpPr>
            <a:xfrm>
              <a:off x="2581682" y="4571495"/>
              <a:ext cx="884379" cy="45719"/>
              <a:chOff x="2581682" y="4571495"/>
              <a:chExt cx="884379" cy="45719"/>
            </a:xfrm>
          </p:grpSpPr>
          <p:cxnSp>
            <p:nvCxnSpPr>
              <p:cNvPr id="36" name="Straight Connector 35"/>
              <p:cNvCxnSpPr/>
              <p:nvPr/>
            </p:nvCxnSpPr>
            <p:spPr>
              <a:xfrm>
                <a:off x="2581682" y="4594354"/>
                <a:ext cx="88437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Rectangle 36"/>
              <p:cNvSpPr/>
              <p:nvPr/>
            </p:nvSpPr>
            <p:spPr>
              <a:xfrm>
                <a:off x="2827021" y="4571495"/>
                <a:ext cx="393700" cy="45719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5656FDA-C1B1-460B-9F34-2E1197EBC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7525" y="727461"/>
            <a:ext cx="3020335" cy="2456372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20470F21-FE59-4B50-8725-E9F51AFFA0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0486" y="747731"/>
            <a:ext cx="3088279" cy="2415831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D2C751B0-A0A1-4E22-A448-090444AAC6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5625" y="3429794"/>
            <a:ext cx="3093722" cy="2509282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3C26E9FE-C98E-49F7-A819-49D43A801127}"/>
              </a:ext>
            </a:extLst>
          </p:cNvPr>
          <p:cNvSpPr txBox="1"/>
          <p:nvPr/>
        </p:nvSpPr>
        <p:spPr>
          <a:xfrm>
            <a:off x="837409" y="4351393"/>
            <a:ext cx="3018194" cy="898126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e country-representing photo</a:t>
            </a:r>
          </a:p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rk theme not to distract focusing</a:t>
            </a:r>
          </a:p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creen size photo</a:t>
            </a:r>
          </a:p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1C6922E4-8C60-4C96-88FB-806C026030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3305" y="3429794"/>
            <a:ext cx="3088278" cy="242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708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/>
        </p:nvGrpSpPr>
        <p:grpSpPr>
          <a:xfrm>
            <a:off x="-1956591" y="2193909"/>
            <a:ext cx="1468911" cy="1920891"/>
            <a:chOff x="1514774" y="1542248"/>
            <a:chExt cx="3018194" cy="3074966"/>
          </a:xfrm>
        </p:grpSpPr>
        <p:sp>
          <p:nvSpPr>
            <p:cNvPr id="39" name="Oval 38"/>
            <p:cNvSpPr/>
            <p:nvPr/>
          </p:nvSpPr>
          <p:spPr>
            <a:xfrm>
              <a:off x="2595339" y="1542248"/>
              <a:ext cx="884379" cy="88437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D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3</a:t>
              </a:r>
              <a:endPara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172025" y="2599880"/>
              <a:ext cx="1703692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ATEGORY 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514774" y="3259736"/>
              <a:ext cx="3018194" cy="282573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HOLDER TEXT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514774" y="3715562"/>
              <a:ext cx="3018194" cy="682682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replacing the placeholder text you need to click on the placeholder text  and insert your own text.</a:t>
              </a:r>
            </a:p>
          </p:txBody>
        </p:sp>
        <p:cxnSp>
          <p:nvCxnSpPr>
            <p:cNvPr id="43" name="Straight Connector 42"/>
            <p:cNvCxnSpPr/>
            <p:nvPr/>
          </p:nvCxnSpPr>
          <p:spPr>
            <a:xfrm>
              <a:off x="2595339" y="3086483"/>
              <a:ext cx="88437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Group 43"/>
            <p:cNvGrpSpPr/>
            <p:nvPr/>
          </p:nvGrpSpPr>
          <p:grpSpPr>
            <a:xfrm>
              <a:off x="2581682" y="4571495"/>
              <a:ext cx="884379" cy="45719"/>
              <a:chOff x="2581682" y="4571495"/>
              <a:chExt cx="884379" cy="45719"/>
            </a:xfrm>
          </p:grpSpPr>
          <p:cxnSp>
            <p:nvCxnSpPr>
              <p:cNvPr id="45" name="Straight Connector 44"/>
              <p:cNvCxnSpPr/>
              <p:nvPr/>
            </p:nvCxnSpPr>
            <p:spPr>
              <a:xfrm>
                <a:off x="2581682" y="4594354"/>
                <a:ext cx="88437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Rectangle 45"/>
              <p:cNvSpPr/>
              <p:nvPr/>
            </p:nvSpPr>
            <p:spPr>
              <a:xfrm>
                <a:off x="2827021" y="4571495"/>
                <a:ext cx="393700" cy="45719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498598"/>
          </a:xfrm>
        </p:spPr>
        <p:txBody>
          <a:bodyPr>
            <a:normAutofit/>
          </a:bodyPr>
          <a:lstStyle/>
          <a:p>
            <a:r>
              <a:rPr lang="en-US" dirty="0"/>
              <a:t>Plann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174264B-F5A0-4C1E-8677-6226C806DF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3200" y="1048696"/>
            <a:ext cx="9917906" cy="5178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601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/>
        </p:nvGrpSpPr>
        <p:grpSpPr>
          <a:xfrm>
            <a:off x="-1956591" y="2193909"/>
            <a:ext cx="1468911" cy="1920891"/>
            <a:chOff x="1514774" y="1542248"/>
            <a:chExt cx="3018194" cy="3074966"/>
          </a:xfrm>
        </p:grpSpPr>
        <p:sp>
          <p:nvSpPr>
            <p:cNvPr id="39" name="Oval 38"/>
            <p:cNvSpPr/>
            <p:nvPr/>
          </p:nvSpPr>
          <p:spPr>
            <a:xfrm>
              <a:off x="2595339" y="1542248"/>
              <a:ext cx="884379" cy="88437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D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3</a:t>
              </a:r>
              <a:endPara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172025" y="2599880"/>
              <a:ext cx="1703692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ATEGORY 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514774" y="3259736"/>
              <a:ext cx="3018194" cy="282573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HOLDER TEXT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514774" y="3715562"/>
              <a:ext cx="3018194" cy="682682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replacing the placeholder text you need to click on the placeholder text  and insert your own text.</a:t>
              </a:r>
            </a:p>
          </p:txBody>
        </p:sp>
        <p:cxnSp>
          <p:nvCxnSpPr>
            <p:cNvPr id="43" name="Straight Connector 42"/>
            <p:cNvCxnSpPr/>
            <p:nvPr/>
          </p:nvCxnSpPr>
          <p:spPr>
            <a:xfrm>
              <a:off x="2595339" y="3086483"/>
              <a:ext cx="88437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Group 43"/>
            <p:cNvGrpSpPr/>
            <p:nvPr/>
          </p:nvGrpSpPr>
          <p:grpSpPr>
            <a:xfrm>
              <a:off x="2581682" y="4571495"/>
              <a:ext cx="884379" cy="45719"/>
              <a:chOff x="2581682" y="4571495"/>
              <a:chExt cx="884379" cy="45719"/>
            </a:xfrm>
          </p:grpSpPr>
          <p:cxnSp>
            <p:nvCxnSpPr>
              <p:cNvPr id="45" name="Straight Connector 44"/>
              <p:cNvCxnSpPr/>
              <p:nvPr/>
            </p:nvCxnSpPr>
            <p:spPr>
              <a:xfrm>
                <a:off x="2581682" y="4594354"/>
                <a:ext cx="88437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Rectangle 45"/>
              <p:cNvSpPr/>
              <p:nvPr/>
            </p:nvSpPr>
            <p:spPr>
              <a:xfrm>
                <a:off x="2827021" y="4571495"/>
                <a:ext cx="393700" cy="45719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498598"/>
          </a:xfrm>
        </p:spPr>
        <p:txBody>
          <a:bodyPr>
            <a:normAutofit/>
          </a:bodyPr>
          <a:lstStyle/>
          <a:p>
            <a:r>
              <a:rPr lang="en-US" dirty="0"/>
              <a:t>Wirefr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245D84BF-F0D7-4349-A60B-D92174D87D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1815" y="306883"/>
            <a:ext cx="3218764" cy="6146800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D11CD7EA-3017-4405-99E9-C8E8DB98B8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41" y="1606169"/>
            <a:ext cx="6355503" cy="332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972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9244C"/>
      </a:accent1>
      <a:accent2>
        <a:srgbClr val="B0E900"/>
      </a:accent2>
      <a:accent3>
        <a:srgbClr val="09244C"/>
      </a:accent3>
      <a:accent4>
        <a:srgbClr val="009CDA"/>
      </a:accent4>
      <a:accent5>
        <a:srgbClr val="AED8EF"/>
      </a:accent5>
      <a:accent6>
        <a:srgbClr val="D0CECE"/>
      </a:accent6>
      <a:hlink>
        <a:srgbClr val="3F3F3F"/>
      </a:hlink>
      <a:folHlink>
        <a:srgbClr val="D6DCE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47</TotalTime>
  <Words>192</Words>
  <Application>Microsoft Office PowerPoint</Application>
  <PresentationFormat>사용자 지정</PresentationFormat>
  <Paragraphs>62</Paragraphs>
  <Slides>7</Slides>
  <Notes>2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Symbol</vt:lpstr>
      <vt:lpstr>Wingdings 3</vt:lpstr>
      <vt:lpstr>Office Theme</vt:lpstr>
      <vt:lpstr>think-cell Slide</vt:lpstr>
      <vt:lpstr>PowerPoint 프레젠테이션</vt:lpstr>
      <vt:lpstr>Contents</vt:lpstr>
      <vt:lpstr>Proposal</vt:lpstr>
      <vt:lpstr>Research</vt:lpstr>
      <vt:lpstr>Research</vt:lpstr>
      <vt:lpstr>Planning</vt:lpstr>
      <vt:lpstr>Wireframe</vt:lpstr>
    </vt:vector>
  </TitlesOfParts>
  <Manager>You Exec (https://youexec.com/plus)</Manager>
  <Company>You Exec (https://youexec.com/plus)</Company>
  <LinksUpToDate>false</LinksUpToDate>
  <SharedDoc>false</SharedDoc>
  <HyperlinkBase>https://youexec.com/plus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/plus)</dc:title>
  <dc:subject>You Exec (https://youexec.com/plus)</dc:subject>
  <dc:creator>You Exec (https://youexec.com/plus)</dc:creator>
  <cp:keywords>You Exec (https:/youexec.com/plus)</cp:keywords>
  <dc:description>You Exec (https://youexec.com/plus)</dc:description>
  <cp:lastModifiedBy>moonjeong song</cp:lastModifiedBy>
  <cp:revision>261</cp:revision>
  <dcterms:created xsi:type="dcterms:W3CDTF">2016-03-15T10:14:04Z</dcterms:created>
  <dcterms:modified xsi:type="dcterms:W3CDTF">2019-04-23T09:57:54Z</dcterms:modified>
  <cp:category>You Exec (https://youexec.com/plus)</cp:category>
</cp:coreProperties>
</file>